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80" r:id="rId2"/>
  </p:sldMasterIdLst>
  <p:notesMasterIdLst>
    <p:notesMasterId r:id="rId4"/>
  </p:notesMasterIdLst>
  <p:sldIdLst>
    <p:sldId id="376" r:id="rId3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9966FF"/>
    <a:srgbClr val="00CC00"/>
    <a:srgbClr val="0099FF"/>
    <a:srgbClr val="FFFF66"/>
    <a:srgbClr val="FF66FF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24" autoAdjust="0"/>
    <p:restoredTop sz="93173" autoAdjust="0"/>
  </p:normalViewPr>
  <p:slideViewPr>
    <p:cSldViewPr snapToGrid="0">
      <p:cViewPr varScale="1">
        <p:scale>
          <a:sx n="121" d="100"/>
          <a:sy n="121" d="100"/>
        </p:scale>
        <p:origin x="142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19CC31A-D355-4BC9-A1AE-F3784B04F92A}" type="datetimeFigureOut">
              <a:rPr lang="en-US" smtClean="0"/>
              <a:t>7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397D885-67DC-44CA-9FCE-4BF3793C55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937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97D885-67DC-44CA-9FCE-4BF3793C554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121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54552"/>
            <a:ext cx="7772400" cy="1470025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070558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 flipV="1">
            <a:off x="0" y="4308607"/>
            <a:ext cx="9144000" cy="17655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8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00" t="24621" r="30000" b="13935"/>
          <a:stretch/>
        </p:blipFill>
        <p:spPr>
          <a:xfrm>
            <a:off x="444501" y="4327401"/>
            <a:ext cx="3035300" cy="1746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664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9279" y="2415959"/>
            <a:ext cx="7772400" cy="1470025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 flipV="1">
            <a:off x="0" y="5298622"/>
            <a:ext cx="9144000" cy="77551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3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38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234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2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 flipV="1">
            <a:off x="2" y="4432087"/>
            <a:ext cx="9143999" cy="17654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37" dirty="0">
              <a:solidFill>
                <a:srgbClr val="00008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50139" y="3849576"/>
            <a:ext cx="284683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50140" y="3975186"/>
            <a:ext cx="302919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</a:rPr>
              <a:t>Last Modified 8/24/2017 10:24 PM Eastern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50139" y="4100796"/>
            <a:ext cx="284683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850140" y="634248"/>
            <a:ext cx="6358614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50140" y="2353124"/>
            <a:ext cx="6358614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/>
          <p:cNvSpPr txBox="1">
            <a:spLocks noChangeArrowheads="1"/>
          </p:cNvSpPr>
          <p:nvPr userDrawn="1"/>
        </p:nvSpPr>
        <p:spPr bwMode="gray">
          <a:xfrm>
            <a:off x="850140" y="2821289"/>
            <a:ext cx="635861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44500" y="4450880"/>
            <a:ext cx="3035715" cy="174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502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2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14634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 userDrawn="1">
          <p15:clr>
            <a:srgbClr val="F26B43"/>
          </p15:clr>
        </p15:guide>
        <p15:guide id="2" pos="74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2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4502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2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flipV="1">
            <a:off x="886" y="6434663"/>
            <a:ext cx="9144000" cy="4327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8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77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457200" y="1147703"/>
            <a:ext cx="8229600" cy="0"/>
          </a:xfrm>
          <a:prstGeom prst="line">
            <a:avLst/>
          </a:prstGeom>
          <a:ln w="6350" cmpd="sng">
            <a:solidFill>
              <a:schemeClr val="accent5">
                <a:lumMod val="75000"/>
              </a:schemeClr>
            </a:solidFill>
          </a:ln>
          <a:effectLst>
            <a:outerShdw blurRad="25400" dist="12700" dir="5400000" algn="t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457201" y="6492878"/>
            <a:ext cx="822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0" i="0" dirty="0">
                <a:solidFill>
                  <a:schemeClr val="tx1"/>
                </a:solidFill>
                <a:latin typeface="+mn-lt"/>
                <a:cs typeface="Myriad Pro"/>
              </a:rPr>
              <a:t>Homer City Generation, L.P.		                             Confidential		                                                             </a:t>
            </a:r>
            <a:fld id="{EB678ED7-778B-4042-9789-E71135306EF9}" type="slidenum">
              <a:rPr lang="en-US" sz="1200" b="0" i="0" smtClean="0">
                <a:solidFill>
                  <a:schemeClr val="tx1"/>
                </a:solidFill>
                <a:latin typeface="+mn-lt"/>
                <a:cs typeface="Myriad Pro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0" i="0" dirty="0">
              <a:solidFill>
                <a:schemeClr val="tx1"/>
              </a:solidFill>
              <a:latin typeface="+mn-lt"/>
              <a:cs typeface="Myriad Pro"/>
            </a:endParaRPr>
          </a:p>
        </p:txBody>
      </p:sp>
    </p:spTree>
    <p:extLst>
      <p:ext uri="{BB962C8B-B14F-4D97-AF65-F5344CB8AC3E}">
        <p14:creationId xmlns:p14="http://schemas.microsoft.com/office/powerpoint/2010/main" val="1770390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9" r:id="rId2"/>
    <p:sldLayoutId id="2147483674" r:id="rId3"/>
    <p:sldLayoutId id="2147483678" r:id="rId4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Clr>
          <a:schemeClr val="tx2"/>
        </a:buClr>
        <a:buSzPct val="50000"/>
        <a:buFont typeface="Wingdings" charset="2"/>
        <a:buChar char="u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Clr>
          <a:schemeClr val="tx2">
            <a:lumMod val="60000"/>
            <a:lumOff val="40000"/>
          </a:schemeClr>
        </a:buClr>
        <a:buFont typeface="Wingdings" charset="2"/>
        <a:buChar char="ü"/>
        <a:defRPr sz="2000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4" name="Rectangle 63"/>
          <p:cNvSpPr/>
          <p:nvPr userDrawn="1"/>
        </p:nvSpPr>
        <p:spPr bwMode="ltGray">
          <a:xfrm flipV="1">
            <a:off x="904" y="6411151"/>
            <a:ext cx="9143096" cy="4326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37" dirty="0">
              <a:solidFill>
                <a:srgbClr val="000080"/>
              </a:solidFill>
            </a:endParaRPr>
          </a:p>
        </p:txBody>
      </p:sp>
      <p:sp>
        <p:nvSpPr>
          <p:cNvPr id="65" name="TextBox 64"/>
          <p:cNvSpPr txBox="1"/>
          <p:nvPr userDrawn="1"/>
        </p:nvSpPr>
        <p:spPr>
          <a:xfrm>
            <a:off x="35372" y="6486171"/>
            <a:ext cx="8397253" cy="28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sz="1224" b="0" i="0" dirty="0">
                <a:solidFill>
                  <a:schemeClr val="tx1"/>
                </a:solidFill>
                <a:latin typeface="+mn-lt"/>
                <a:cs typeface="Myriad Pro"/>
              </a:rPr>
              <a:t>Homer City Generation		                             Confidential	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60433" y="1980018"/>
            <a:ext cx="202459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8/24/2017 10:24 PM Eastern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48495" y="4197998"/>
            <a:ext cx="24846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0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0" y="7730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0" y="566136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5" name="Slide Elements" hidden="1"/>
          <p:cNvGrpSpPr/>
          <p:nvPr userDrawn="1"/>
        </p:nvGrpSpPr>
        <p:grpSpPr>
          <a:xfrm>
            <a:off x="121490" y="6033825"/>
            <a:ext cx="8794113" cy="333805"/>
            <a:chOff x="119063" y="5913705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5913705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115318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5355" indent="-505355" defTabSz="913526">
                <a:tabLst>
                  <a:tab pos="643032" algn="l"/>
                </a:tabLst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6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270343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32652" y="291555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8076339" y="285075"/>
            <a:ext cx="778548" cy="1017696"/>
            <a:chOff x="7835905" y="279400"/>
            <a:chExt cx="763004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00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762259" y="285077"/>
            <a:ext cx="1092797" cy="745579"/>
            <a:chOff x="7540629" y="279400"/>
            <a:chExt cx="1070979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00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8008305" y="255920"/>
            <a:ext cx="846581" cy="1333054"/>
            <a:chOff x="7769225" y="250825"/>
            <a:chExt cx="82967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00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00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738381" y="6564713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16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816" baseline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436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09" userDrawn="1">
          <p15:clr>
            <a:srgbClr val="F26B43"/>
          </p15:clr>
        </p15:guide>
        <p15:guide id="2" pos="28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0EC891D-E53D-4B9A-BE8C-37ECB519096D}"/>
              </a:ext>
            </a:extLst>
          </p:cNvPr>
          <p:cNvSpPr txBox="1">
            <a:spLocks/>
          </p:cNvSpPr>
          <p:nvPr/>
        </p:nvSpPr>
        <p:spPr>
          <a:xfrm>
            <a:off x="276591" y="1064167"/>
            <a:ext cx="8155172" cy="49531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tx2"/>
              </a:buClr>
              <a:buSzPct val="50000"/>
              <a:buFont typeface="Wingdings" charset="2"/>
              <a:buChar char="u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tx2">
                  <a:lumMod val="60000"/>
                  <a:lumOff val="40000"/>
                </a:schemeClr>
              </a:buClr>
              <a:buFont typeface="Wingdings" charset="2"/>
              <a:buChar char="ü"/>
              <a:defRPr sz="20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>
              <a:latin typeface="Bookman Old Style" panose="02050604050505020204" pitchFamily="18" charset="0"/>
            </a:endParaRPr>
          </a:p>
          <a:p>
            <a:pPr marL="0" indent="0">
              <a:buNone/>
            </a:pPr>
            <a:endParaRPr lang="en-US" sz="1400" dirty="0">
              <a:latin typeface="Bookman Old Style" panose="02050604050505020204" pitchFamily="18" charset="0"/>
            </a:endParaRPr>
          </a:p>
          <a:p>
            <a:pPr marL="0" indent="0">
              <a:buNone/>
            </a:pPr>
            <a:endParaRPr lang="en-US" sz="1400" b="1" u="sng" dirty="0">
              <a:latin typeface="Bookman Old Style" panose="02050604050505020204" pitchFamily="18" charset="0"/>
            </a:endParaRPr>
          </a:p>
          <a:p>
            <a:endParaRPr lang="en-US" sz="1400" dirty="0">
              <a:latin typeface="Bookman Old Style" panose="02050604050505020204" pitchFamily="18" charset="0"/>
            </a:endParaRPr>
          </a:p>
          <a:p>
            <a:endParaRPr lang="en-US" sz="1400" dirty="0">
              <a:latin typeface="Bookman Old Style" panose="02050604050505020204" pitchFamily="18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2A474-AFD1-4A76-B6B0-254635BBA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97397"/>
          </a:xfrm>
        </p:spPr>
        <p:txBody>
          <a:bodyPr/>
          <a:lstStyle/>
          <a:p>
            <a:r>
              <a:rPr lang="en-US" dirty="0"/>
              <a:t>HC upd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6D8AB9-C51E-4CA8-AC49-5132DFAD6DCE}"/>
              </a:ext>
            </a:extLst>
          </p:cNvPr>
          <p:cNvSpPr txBox="1"/>
          <p:nvPr/>
        </p:nvSpPr>
        <p:spPr>
          <a:xfrm rot="10800000" flipH="1" flipV="1">
            <a:off x="895360" y="1585367"/>
            <a:ext cx="691763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HC is doing better operationally in 2019 than 2018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Market has been soft so fa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EUOF is at less than 5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2018 Accomplishment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New Coal contract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Gives Management flexibility to reassign employees based on plant nee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New Labor agreement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Cost saving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New energy management contract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Cost saving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New O&amp;M contract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Cost saving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Increase reliability through investment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$5M into the Unit 1 boiler after $7M into Unit boiler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$6M into reliability project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Pattern recognition software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200" dirty="0"/>
              <a:t>Engineering reviews for targeted invest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2019 has not started well on safe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Safety has dramatically improved after completion of new labor contra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D fan claim is very close to being resolve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Repair work completed at $850K against a $1.2M estimate</a:t>
            </a:r>
          </a:p>
        </p:txBody>
      </p:sp>
    </p:spTree>
    <p:extLst>
      <p:ext uri="{BB962C8B-B14F-4D97-AF65-F5344CB8AC3E}">
        <p14:creationId xmlns:p14="http://schemas.microsoft.com/office/powerpoint/2010/main" val="2970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2_CPV Theme Oct 20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HomerCity_CF_TXU096">
  <a:themeElements>
    <a:clrScheme name="CURRENT">
      <a:dk1>
        <a:srgbClr val="000000"/>
      </a:dk1>
      <a:lt1>
        <a:srgbClr val="FFFFFF"/>
      </a:lt1>
      <a:dk2>
        <a:srgbClr val="18414C"/>
      </a:dk2>
      <a:lt2>
        <a:srgbClr val="FFFFFF"/>
      </a:lt2>
      <a:accent1>
        <a:srgbClr val="DCEFF4"/>
      </a:accent1>
      <a:accent2>
        <a:srgbClr val="93CDDD"/>
      </a:accent2>
      <a:accent3>
        <a:srgbClr val="599BC3"/>
      </a:accent3>
      <a:accent4>
        <a:srgbClr val="18414C"/>
      </a:accent4>
      <a:accent5>
        <a:srgbClr val="9BBB59"/>
      </a:accent5>
      <a:accent6>
        <a:srgbClr val="808080"/>
      </a:accent6>
      <a:hlink>
        <a:srgbClr val="599BC3"/>
      </a:hlink>
      <a:folHlink>
        <a:srgbClr val="18414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8414C"/>
        </a:dk2>
        <a:lt2>
          <a:srgbClr val="FFFFFF"/>
        </a:lt2>
        <a:accent1>
          <a:srgbClr val="DCEFF4"/>
        </a:accent1>
        <a:accent2>
          <a:srgbClr val="93CDDD"/>
        </a:accent2>
        <a:accent3>
          <a:srgbClr val="599BC3"/>
        </a:accent3>
        <a:accent4>
          <a:srgbClr val="18414C"/>
        </a:accent4>
        <a:accent5>
          <a:srgbClr val="9BBB59"/>
        </a:accent5>
        <a:accent6>
          <a:srgbClr val="808080"/>
        </a:accent6>
        <a:hlink>
          <a:srgbClr val="599BC3"/>
        </a:hlink>
        <a:folHlink>
          <a:srgbClr val="1841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omerCity_CF_TXU096.potx" id="{C16CA322-04A6-454E-A73A-CDC881302296}" vid="{63A08A43-DC60-4A54-B8BF-665610ADCE6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2961</TotalTime>
  <Words>126</Words>
  <Application>Microsoft Office PowerPoint</Application>
  <PresentationFormat>On-screen Show (4:3)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Bookman Old Style</vt:lpstr>
      <vt:lpstr>Calibri</vt:lpstr>
      <vt:lpstr>Wingdings</vt:lpstr>
      <vt:lpstr>2_CPV Theme Oct 2012</vt:lpstr>
      <vt:lpstr>HomerCity_CF_TXU096</vt:lpstr>
      <vt:lpstr>think-cell Slide</vt:lpstr>
      <vt:lpstr>HC upd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GE</dc:title>
  <dc:creator>Tom Minderman</dc:creator>
  <cp:lastModifiedBy>Ali Bibonge</cp:lastModifiedBy>
  <cp:revision>534</cp:revision>
  <cp:lastPrinted>2017-05-30T19:01:23Z</cp:lastPrinted>
  <dcterms:created xsi:type="dcterms:W3CDTF">2016-09-29T14:42:08Z</dcterms:created>
  <dcterms:modified xsi:type="dcterms:W3CDTF">2019-07-26T13:02:48Z</dcterms:modified>
</cp:coreProperties>
</file>